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311" r:id="rId2"/>
    <p:sldId id="411" r:id="rId3"/>
    <p:sldId id="412" r:id="rId4"/>
    <p:sldId id="414" r:id="rId5"/>
    <p:sldId id="416" r:id="rId6"/>
    <p:sldId id="417" r:id="rId7"/>
    <p:sldId id="418" r:id="rId8"/>
    <p:sldId id="419" r:id="rId9"/>
    <p:sldId id="420" r:id="rId10"/>
    <p:sldId id="421" r:id="rId11"/>
    <p:sldId id="422" r:id="rId12"/>
    <p:sldId id="423" r:id="rId13"/>
    <p:sldId id="424" r:id="rId14"/>
    <p:sldId id="425" r:id="rId15"/>
    <p:sldId id="428" r:id="rId16"/>
    <p:sldId id="429" r:id="rId17"/>
    <p:sldId id="427" r:id="rId18"/>
    <p:sldId id="426" r:id="rId19"/>
    <p:sldId id="430" r:id="rId20"/>
    <p:sldId id="431" r:id="rId21"/>
    <p:sldId id="432" r:id="rId22"/>
    <p:sldId id="433" r:id="rId23"/>
    <p:sldId id="434" r:id="rId24"/>
    <p:sldId id="435" r:id="rId25"/>
    <p:sldId id="436" r:id="rId26"/>
    <p:sldId id="437" r:id="rId27"/>
    <p:sldId id="438" r:id="rId28"/>
    <p:sldId id="439" r:id="rId29"/>
    <p:sldId id="440" r:id="rId30"/>
    <p:sldId id="441" r:id="rId31"/>
    <p:sldId id="442" r:id="rId32"/>
    <p:sldId id="404" r:id="rId33"/>
  </p:sldIdLst>
  <p:sldSz cx="9144000" cy="6858000" type="screen4x3"/>
  <p:notesSz cx="6797675" cy="9926638"/>
  <p:custDataLst>
    <p:tags r:id="rId36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A2C4A746-1FC1-482D-8181-39FEF2C4A909}">
          <p14:sldIdLst>
            <p14:sldId id="311"/>
            <p14:sldId id="411"/>
            <p14:sldId id="412"/>
            <p14:sldId id="414"/>
            <p14:sldId id="416"/>
            <p14:sldId id="417"/>
            <p14:sldId id="418"/>
            <p14:sldId id="419"/>
            <p14:sldId id="420"/>
            <p14:sldId id="421"/>
            <p14:sldId id="422"/>
            <p14:sldId id="423"/>
            <p14:sldId id="424"/>
            <p14:sldId id="425"/>
            <p14:sldId id="428"/>
            <p14:sldId id="429"/>
            <p14:sldId id="427"/>
            <p14:sldId id="426"/>
            <p14:sldId id="430"/>
            <p14:sldId id="431"/>
            <p14:sldId id="432"/>
            <p14:sldId id="433"/>
            <p14:sldId id="434"/>
            <p14:sldId id="435"/>
            <p14:sldId id="436"/>
            <p14:sldId id="437"/>
            <p14:sldId id="438"/>
            <p14:sldId id="439"/>
            <p14:sldId id="440"/>
            <p14:sldId id="441"/>
            <p14:sldId id="442"/>
          </p14:sldIdLst>
        </p14:section>
        <p14:section name="Content Slides" id="{87938154-2A90-4851-B867-8B27CC9FE3B0}">
          <p14:sldIdLst>
            <p14:sldId id="404"/>
          </p14:sldIdLst>
        </p14:section>
        <p14:section name="Example Slides" id="{27FB5AE8-D492-47B3-A3DB-4EA89BEDE3C0}">
          <p14:sldIdLst/>
        </p14:section>
        <p14:section name="Final Slides" id="{B8425838-4BEB-40DD-B72A-BF45ED5EE14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4218">
          <p15:clr>
            <a:srgbClr val="A4A3A4"/>
          </p15:clr>
        </p15:guide>
        <p15:guide id="2" orient="horz" pos="857">
          <p15:clr>
            <a:srgbClr val="A4A3A4"/>
          </p15:clr>
        </p15:guide>
        <p15:guide id="3" orient="horz" pos="3940">
          <p15:clr>
            <a:srgbClr val="A4A3A4"/>
          </p15:clr>
        </p15:guide>
        <p15:guide id="4" orient="horz">
          <p15:clr>
            <a:srgbClr val="A4A3A4"/>
          </p15:clr>
        </p15:guide>
        <p15:guide id="5" pos="2883">
          <p15:clr>
            <a:srgbClr val="A4A3A4"/>
          </p15:clr>
        </p15:guide>
        <p15:guide id="6" pos="230">
          <p15:clr>
            <a:srgbClr val="A4A3A4"/>
          </p15:clr>
        </p15:guide>
        <p15:guide id="7" pos="5529">
          <p15:clr>
            <a:srgbClr val="A4A3A4"/>
          </p15:clr>
        </p15:guide>
        <p15:guide id="8" orient="horz" pos="37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ABCB54"/>
    <a:srgbClr val="58585A"/>
    <a:srgbClr val="8FB91C"/>
    <a:srgbClr val="C1D8C2"/>
    <a:srgbClr val="FFFFFF"/>
    <a:srgbClr val="F2F0E7"/>
    <a:srgbClr val="EFF3CF"/>
    <a:srgbClr val="E5E0D0"/>
    <a:srgbClr val="BBD1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62" autoAdjust="0"/>
    <p:restoredTop sz="87840" autoAdjust="0"/>
  </p:normalViewPr>
  <p:slideViewPr>
    <p:cSldViewPr snapToGrid="0">
      <p:cViewPr varScale="1">
        <p:scale>
          <a:sx n="72" d="100"/>
          <a:sy n="72" d="100"/>
        </p:scale>
        <p:origin x="1446" y="78"/>
      </p:cViewPr>
      <p:guideLst>
        <p:guide orient="horz" pos="4218"/>
        <p:guide orient="horz" pos="857"/>
        <p:guide orient="horz" pos="3940"/>
        <p:guide orient="horz"/>
        <p:guide pos="2883"/>
        <p:guide pos="230"/>
        <p:guide pos="5529"/>
        <p:guide orient="horz" pos="3725"/>
      </p:guideLst>
    </p:cSldViewPr>
  </p:slideViewPr>
  <p:outlineViewPr>
    <p:cViewPr>
      <p:scale>
        <a:sx n="33" d="100"/>
        <a:sy n="33" d="100"/>
      </p:scale>
      <p:origin x="0" y="53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7" d="100"/>
          <a:sy n="47" d="100"/>
        </p:scale>
        <p:origin x="-2952" y="-108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9475FFF9-468F-4A44-94C4-007707C280D2}" type="datetimeFigureOut">
              <a:rPr lang="de-DE" smtClean="0"/>
              <a:t>05.12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905401F5-088A-7444-B95A-A5771689DCF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423413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3EF4BE10-A985-CB4A-ADE5-E67BDA02AB25}" type="datetimeFigureOut">
              <a:rPr lang="en-US" smtClean="0"/>
              <a:t>12/5/2017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C5A451B0-B4A3-6244-BD97-12275BA1DB8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01068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A451B0-B4A3-6244-BD97-12275BA1DB85}" type="slidenum">
              <a:rPr lang="en-US" smtClean="0"/>
              <a:t>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7432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A451B0-B4A3-6244-BD97-12275BA1DB85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lienbildplatzhalter 9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11" name="Notizenplatzhalt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743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4225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27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PPT.Titelbild_Motorad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" r="1806"/>
          <a:stretch/>
        </p:blipFill>
        <p:spPr>
          <a:xfrm>
            <a:off x="-1" y="0"/>
            <a:ext cx="9144001" cy="5900738"/>
          </a:xfrm>
          <a:prstGeom prst="rect">
            <a:avLst/>
          </a:prstGeom>
        </p:spPr>
      </p:pic>
      <p:sp>
        <p:nvSpPr>
          <p:cNvPr id="10" name="Rectangle 8"/>
          <p:cNvSpPr/>
          <p:nvPr userDrawn="1"/>
        </p:nvSpPr>
        <p:spPr>
          <a:xfrm>
            <a:off x="2" y="3977640"/>
            <a:ext cx="9143998" cy="96012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63669" y="3916600"/>
            <a:ext cx="8437431" cy="555020"/>
          </a:xfrm>
          <a:prstGeom prst="rect">
            <a:avLst/>
          </a:prstGeom>
        </p:spPr>
        <p:txBody>
          <a:bodyPr vert="horz" lIns="0"/>
          <a:lstStyle>
            <a:lvl1pPr algn="l">
              <a:lnSpc>
                <a:spcPct val="100000"/>
              </a:lnSpc>
              <a:defRPr sz="3600" b="1" i="0" u="none" cap="none" baseline="0">
                <a:solidFill>
                  <a:schemeClr val="accent6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 smtClean="0"/>
              <a:t>Title of presentation</a:t>
            </a:r>
            <a:br>
              <a:rPr lang="en-US" noProof="0" dirty="0" smtClean="0"/>
            </a:br>
            <a:endParaRPr lang="en-US" noProof="0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966444" y="4475078"/>
            <a:ext cx="5868000" cy="41803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ts val="3000"/>
              </a:lnSpc>
              <a:spcBef>
                <a:spcPts val="0"/>
              </a:spcBef>
              <a:buNone/>
              <a:defRPr sz="2800" b="1" i="0" baseline="0">
                <a:solidFill>
                  <a:schemeClr val="accent6"/>
                </a:solidFill>
                <a:latin typeface="Arial"/>
                <a:cs typeface="Cambria"/>
              </a:defRPr>
            </a:lvl1pPr>
            <a:lvl2pPr marL="576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2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8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4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8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6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2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8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Subtitle of presentation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966444" y="5055433"/>
            <a:ext cx="5868000" cy="36000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Name, Position</a:t>
            </a:r>
            <a:endParaRPr lang="en-US" noProof="0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966444" y="5416676"/>
            <a:ext cx="5868000" cy="360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Event, Date</a:t>
            </a:r>
            <a:endParaRPr lang="en-US" noProof="0" dirty="0"/>
          </a:p>
        </p:txBody>
      </p:sp>
      <p:pic>
        <p:nvPicPr>
          <p:cNvPr id="20" name="Picture 3" descr="E:\Büro\Klienten\Klienten_Sonstige\Straumann\Straumann_Logo_RGB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20" y="5900738"/>
            <a:ext cx="2254280" cy="957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610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355829" y="4977963"/>
            <a:ext cx="8478000" cy="19389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eaLnBrk="1">
              <a:spcBef>
                <a:spcPts val="0"/>
              </a:spcBef>
              <a:buFontTx/>
              <a:buNone/>
              <a:defRPr sz="105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65125" y="5467364"/>
            <a:ext cx="8478000" cy="2539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>
            <a:spAutoFit/>
          </a:bodyPr>
          <a:lstStyle/>
          <a:p>
            <a:pPr lvl="0" eaLnBrk="1">
              <a:spcBef>
                <a:spcPts val="300"/>
              </a:spcBef>
            </a:pPr>
            <a:endParaRPr lang="en-US" sz="1050" noProof="0" dirty="0" smtClean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71749" y="5206143"/>
            <a:ext cx="8459514" cy="103027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5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6" name="Rectangle 2"/>
          <p:cNvSpPr/>
          <p:nvPr userDrawn="1"/>
        </p:nvSpPr>
        <p:spPr>
          <a:xfrm>
            <a:off x="0" y="-4049"/>
            <a:ext cx="9144000" cy="180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sz="135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784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nical Photo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65125" y="1360488"/>
            <a:ext cx="8412163" cy="4894262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FontTx/>
              <a:buNone/>
              <a:defRPr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buClr>
                <a:schemeClr val="accent2"/>
              </a:buClr>
              <a:defRPr/>
            </a:lvl2pPr>
            <a:lvl3pPr>
              <a:spcAft>
                <a:spcPts val="300"/>
              </a:spcAft>
              <a:buClr>
                <a:schemeClr val="accent2"/>
              </a:buClr>
              <a:defRPr/>
            </a:lvl3pPr>
            <a:lvl4pPr>
              <a:spcAft>
                <a:spcPts val="300"/>
              </a:spcAft>
              <a:buClr>
                <a:schemeClr val="accent2"/>
              </a:buClr>
              <a:defRPr/>
            </a:lvl4pPr>
            <a:lvl5pPr>
              <a:spcAft>
                <a:spcPts val="300"/>
              </a:spcAft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pic>
        <p:nvPicPr>
          <p:cNvPr id="16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9219" y="6469200"/>
            <a:ext cx="1020654" cy="221403"/>
          </a:xfrm>
          <a:prstGeom prst="rect">
            <a:avLst/>
          </a:prstGeom>
        </p:spPr>
      </p:pic>
      <p:sp>
        <p:nvSpPr>
          <p:cNvPr id="17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3967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500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0" y="0"/>
            <a:ext cx="9144000" cy="5897880"/>
          </a:xfrm>
          <a:prstGeom prst="rect">
            <a:avLst/>
          </a:prstGeom>
          <a:solidFill>
            <a:srgbClr val="8FB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12" name="Rectangle 8"/>
          <p:cNvSpPr/>
          <p:nvPr userDrawn="1"/>
        </p:nvSpPr>
        <p:spPr>
          <a:xfrm>
            <a:off x="2" y="3977640"/>
            <a:ext cx="9143998" cy="960120"/>
          </a:xfrm>
          <a:prstGeom prst="rect">
            <a:avLst/>
          </a:prstGeom>
          <a:solidFill>
            <a:srgbClr val="ABCB5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63669" y="4180190"/>
            <a:ext cx="8442000" cy="555020"/>
          </a:xfrm>
          <a:prstGeom prst="rect">
            <a:avLst/>
          </a:prstGeom>
        </p:spPr>
        <p:txBody>
          <a:bodyPr vert="horz" lIns="0" anchor="ctr" anchorCtr="0"/>
          <a:lstStyle>
            <a:lvl1pPr algn="l">
              <a:lnSpc>
                <a:spcPct val="100000"/>
              </a:lnSpc>
              <a:defRPr sz="3600" b="1" i="0" u="none" cap="none" baseline="0">
                <a:solidFill>
                  <a:schemeClr val="bg2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pic>
        <p:nvPicPr>
          <p:cNvPr id="20" name="Picture 3" descr="E:\Büro\Klienten\Klienten_Sonstige\Straumann\Straumann_Logo_RGB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20" y="5900738"/>
            <a:ext cx="2254280" cy="957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4197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4386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65125" y="1360488"/>
            <a:ext cx="8412163" cy="4894262"/>
          </a:xfrm>
        </p:spPr>
        <p:txBody>
          <a:bodyPr/>
          <a:lstStyle>
            <a:lvl1pPr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defRPr/>
            </a:lvl1pPr>
            <a:lvl2pPr>
              <a:spcAft>
                <a:spcPts val="300"/>
              </a:spcAft>
              <a:buClr>
                <a:schemeClr val="accent2"/>
              </a:buClr>
              <a:defRPr/>
            </a:lvl2pPr>
            <a:lvl3pPr>
              <a:spcAft>
                <a:spcPts val="300"/>
              </a:spcAft>
              <a:buClr>
                <a:schemeClr val="accent2"/>
              </a:buClr>
              <a:defRPr/>
            </a:lvl3pPr>
            <a:lvl4pPr>
              <a:spcAft>
                <a:spcPts val="300"/>
              </a:spcAft>
              <a:buClr>
                <a:schemeClr val="accent2"/>
              </a:buClr>
              <a:defRPr/>
            </a:lvl4pPr>
            <a:lvl5pPr>
              <a:spcAft>
                <a:spcPts val="300"/>
              </a:spcAft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090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without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48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893194" y="1360488"/>
            <a:ext cx="7884094" cy="482685"/>
          </a:xfrm>
          <a:solidFill>
            <a:schemeClr val="accent1"/>
          </a:solidFill>
        </p:spPr>
        <p:txBody>
          <a:bodyPr lIns="36000" tIns="36000" rIns="36000" bIns="36000"/>
          <a:lstStyle>
            <a:lvl1pPr marL="0" indent="0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1360773"/>
            <a:ext cx="437358" cy="482400"/>
          </a:xfrm>
          <a:solidFill>
            <a:schemeClr val="accent1"/>
          </a:solidFill>
        </p:spPr>
        <p:txBody>
          <a:bodyPr lIns="36000" tIns="36000" rIns="36000" bIns="36000"/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893194" y="2000611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365125" y="2000611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893194" y="2640734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2640734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893194" y="3280857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9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3280857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0" name="Textplatzhalter 2"/>
          <p:cNvSpPr>
            <a:spLocks noGrp="1"/>
          </p:cNvSpPr>
          <p:nvPr>
            <p:ph type="body" sz="quarter" idx="26"/>
          </p:nvPr>
        </p:nvSpPr>
        <p:spPr>
          <a:xfrm>
            <a:off x="893194" y="3920980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1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365125" y="3920980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2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893194" y="4561105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9" hasCustomPrompt="1"/>
          </p:nvPr>
        </p:nvSpPr>
        <p:spPr>
          <a:xfrm>
            <a:off x="365125" y="4561105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77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ceholder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360000" y="1360488"/>
            <a:ext cx="8417288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360000" y="1812925"/>
            <a:ext cx="84168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726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 with title - left a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1360488"/>
            <a:ext cx="4143375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Pro</a:t>
            </a:r>
            <a:endParaRPr lang="en-US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4633913" y="1360488"/>
            <a:ext cx="4143375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Con</a:t>
            </a:r>
            <a:endParaRPr lang="en-US" dirty="0"/>
          </a:p>
        </p:txBody>
      </p:sp>
      <p:sp>
        <p:nvSpPr>
          <p:cNvPr id="12" name="Inhaltsplatzhalter 3"/>
          <p:cNvSpPr>
            <a:spLocks noGrp="1"/>
          </p:cNvSpPr>
          <p:nvPr>
            <p:ph sz="quarter" idx="20"/>
          </p:nvPr>
        </p:nvSpPr>
        <p:spPr>
          <a:xfrm>
            <a:off x="360000" y="1812925"/>
            <a:ext cx="41436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Inhaltsplatzhalter 3"/>
          <p:cNvSpPr>
            <a:spLocks noGrp="1"/>
          </p:cNvSpPr>
          <p:nvPr>
            <p:ph sz="quarter" idx="22"/>
          </p:nvPr>
        </p:nvSpPr>
        <p:spPr>
          <a:xfrm>
            <a:off x="4633913" y="1812925"/>
            <a:ext cx="41436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22418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 left, text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449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0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360000" y="1360489"/>
            <a:ext cx="2425403" cy="4894260"/>
          </a:xfrm>
          <a:prstGeom prst="homePlate">
            <a:avLst>
              <a:gd name="adj" fmla="val 19725"/>
            </a:avLst>
          </a:prstGeom>
          <a:solidFill>
            <a:schemeClr val="accent1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2995688" y="1360489"/>
            <a:ext cx="5781600" cy="4894260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377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791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33587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8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3" descr="E:\Büro\Klienten\Klienten_Sonstige\Straumann\Straumann_Logo_no_claim_RGB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753" y="6469034"/>
            <a:ext cx="1012827" cy="219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Gerade Verbindung 6"/>
          <p:cNvCxnSpPr/>
          <p:nvPr/>
        </p:nvCxnSpPr>
        <p:spPr>
          <a:xfrm>
            <a:off x="360000" y="1159619"/>
            <a:ext cx="8413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rgbClr val="58585A"/>
                </a:solidFill>
                <a:latin typeface="Arial"/>
                <a:cs typeface="Arial"/>
              </a:defRPr>
            </a:lvl1pPr>
          </a:lstStyle>
          <a:p>
            <a:fld id="{1A6AB51D-6EB0-4E57-9FF1-82A28F807C3B}" type="slidenum">
              <a:rPr lang="en-US" noProof="1" smtClean="0"/>
              <a:pPr/>
              <a:t>‹Nr.›</a:t>
            </a:fld>
            <a:endParaRPr lang="en-US" noProof="1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052800" y="6696000"/>
            <a:ext cx="3052800" cy="1620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ctr">
              <a:defRPr sz="800" i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59999" y="1360488"/>
            <a:ext cx="8418783" cy="4608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024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52" r:id="rId2"/>
    <p:sldLayoutId id="2147483694" r:id="rId3"/>
    <p:sldLayoutId id="2147483722" r:id="rId4"/>
    <p:sldLayoutId id="2147483728" r:id="rId5"/>
    <p:sldLayoutId id="2147483753" r:id="rId6"/>
    <p:sldLayoutId id="2147483726" r:id="rId7"/>
    <p:sldLayoutId id="2147483729" r:id="rId8"/>
    <p:sldLayoutId id="2147483721" r:id="rId9"/>
    <p:sldLayoutId id="2147483720" r:id="rId10"/>
    <p:sldLayoutId id="2147483754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457200" rtl="0" eaLnBrk="1" latinLnBrk="0" hangingPunct="1">
        <a:lnSpc>
          <a:spcPct val="120000"/>
        </a:lnSpc>
        <a:spcBef>
          <a:spcPts val="60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20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1pPr>
      <a:lvl2pPr marL="539750" indent="-2762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2pPr>
      <a:lvl3pPr marL="803275" indent="-2635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3pPr>
      <a:lvl4pPr marL="1081088" indent="-277813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4pPr>
      <a:lvl5pPr marL="1344613" indent="-2635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kern="1200" baseline="0" smtClean="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1.xml"/><Relationship Id="rId4" Type="http://schemas.microsoft.com/office/2007/relationships/hdphoto" Target="../media/hdphoto1.wdp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1.xml"/><Relationship Id="rId4" Type="http://schemas.microsoft.com/office/2007/relationships/hdphoto" Target="../media/hdphoto2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1.xml"/><Relationship Id="rId4" Type="http://schemas.microsoft.com/office/2007/relationships/hdphoto" Target="../media/hdphoto3.wdp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traumann</a:t>
            </a:r>
            <a:r>
              <a:rPr lang="en-US" dirty="0" smtClean="0"/>
              <a:t>® PURE Ceramic</a:t>
            </a:r>
            <a:r>
              <a:rPr lang="en-US" baseline="30000" dirty="0" smtClean="0"/>
              <a:t> </a:t>
            </a:r>
            <a:endParaRPr lang="en-US" dirty="0"/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onotype </a:t>
            </a:r>
            <a:r>
              <a:rPr lang="en-US" dirty="0" err="1" smtClean="0"/>
              <a:t>Implantat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51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810" y="1209168"/>
            <a:ext cx="8260128" cy="5219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baseline="30000" dirty="0" smtClean="0"/>
              <a:t>®</a:t>
            </a:r>
            <a:r>
              <a:rPr lang="de-DE" dirty="0" smtClean="0"/>
              <a:t> PURE </a:t>
            </a:r>
            <a:r>
              <a:rPr lang="de-DE" dirty="0" err="1" smtClean="0"/>
              <a:t>Ceramic</a:t>
            </a:r>
            <a:r>
              <a:rPr lang="de-DE" dirty="0" smtClean="0"/>
              <a:t> Implantat Monoty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5466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987" y="1377387"/>
            <a:ext cx="8264323" cy="49308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baseline="30000" dirty="0" smtClean="0"/>
              <a:t>®</a:t>
            </a:r>
            <a:r>
              <a:rPr lang="de-DE" dirty="0" smtClean="0"/>
              <a:t> PURE </a:t>
            </a:r>
            <a:r>
              <a:rPr lang="de-DE" dirty="0" err="1" smtClean="0"/>
              <a:t>Ceramic</a:t>
            </a:r>
            <a:r>
              <a:rPr lang="de-DE" dirty="0" smtClean="0"/>
              <a:t> Implantat Monoty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9815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378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62" y="1319513"/>
            <a:ext cx="8022320" cy="5127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baseline="30000" dirty="0"/>
              <a:t> ®</a:t>
            </a:r>
            <a:r>
              <a:rPr lang="de-DE" dirty="0" smtClean="0"/>
              <a:t> PURE </a:t>
            </a:r>
            <a:r>
              <a:rPr lang="de-DE" dirty="0" err="1" smtClean="0"/>
              <a:t>Ceramic</a:t>
            </a:r>
            <a:r>
              <a:rPr lang="de-DE" dirty="0" smtClean="0"/>
              <a:t> Implantat Monoty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4548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160" y="1289575"/>
            <a:ext cx="7976020" cy="49787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baseline="30000" dirty="0"/>
              <a:t> ®</a:t>
            </a:r>
            <a:r>
              <a:rPr lang="de-DE" dirty="0" smtClean="0"/>
              <a:t> PURE </a:t>
            </a:r>
            <a:r>
              <a:rPr lang="de-DE" dirty="0" err="1" smtClean="0"/>
              <a:t>Ceramic</a:t>
            </a:r>
            <a:r>
              <a:rPr lang="de-DE" dirty="0" smtClean="0"/>
              <a:t> Implantat Monoty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66875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399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166" y="1307941"/>
            <a:ext cx="7209561" cy="49800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baseline="30000" dirty="0"/>
              <a:t> ®</a:t>
            </a:r>
            <a:r>
              <a:rPr lang="de-DE" dirty="0" smtClean="0"/>
              <a:t> PURE </a:t>
            </a:r>
            <a:r>
              <a:rPr lang="de-DE" dirty="0" err="1" smtClean="0"/>
              <a:t>Ceramic</a:t>
            </a:r>
            <a:r>
              <a:rPr lang="de-DE" dirty="0" smtClean="0"/>
              <a:t> Implantat Monotype</a:t>
            </a:r>
            <a:endParaRPr lang="de-DE" dirty="0"/>
          </a:p>
        </p:txBody>
      </p:sp>
      <p:pic>
        <p:nvPicPr>
          <p:cNvPr id="3993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504" y="2384400"/>
            <a:ext cx="3862107" cy="3462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feld 4"/>
          <p:cNvSpPr txBox="1"/>
          <p:nvPr/>
        </p:nvSpPr>
        <p:spPr>
          <a:xfrm>
            <a:off x="4775291" y="6018835"/>
            <a:ext cx="24632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Dr. Jochen </a:t>
            </a:r>
            <a:r>
              <a:rPr lang="de-DE" dirty="0" err="1"/>
              <a:t>M</a:t>
            </a:r>
            <a:r>
              <a:rPr lang="de-DE" dirty="0" err="1" smtClean="0"/>
              <a:t>ellinghoff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641420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430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775" y="1527858"/>
            <a:ext cx="8572345" cy="4604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Ausgangssituation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937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923" y="1406144"/>
            <a:ext cx="8634714" cy="4734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Ausgangssituation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344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419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5925" y="1444000"/>
            <a:ext cx="5409356" cy="4900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Verlust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752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75" y="1377282"/>
            <a:ext cx="9009063" cy="4705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Planung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166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638" y="1526653"/>
            <a:ext cx="2452678" cy="4723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05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3450" y="1526653"/>
            <a:ext cx="2483304" cy="47236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Planung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260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accent1"/>
                </a:solidFill>
              </a:rPr>
              <a:t>Straumann</a:t>
            </a:r>
            <a:r>
              <a:rPr lang="de-DE" baseline="30000" dirty="0" smtClean="0">
                <a:solidFill>
                  <a:schemeClr val="accent1"/>
                </a:solidFill>
              </a:rPr>
              <a:t>®</a:t>
            </a:r>
            <a:r>
              <a:rPr lang="de-DE" dirty="0" smtClean="0">
                <a:solidFill>
                  <a:schemeClr val="accent1"/>
                </a:solidFill>
              </a:rPr>
              <a:t> PURE </a:t>
            </a:r>
            <a:r>
              <a:rPr lang="de-DE" dirty="0" err="1" smtClean="0">
                <a:solidFill>
                  <a:schemeClr val="accent1"/>
                </a:solidFill>
              </a:rPr>
              <a:t>Ceramic</a:t>
            </a:r>
            <a:r>
              <a:rPr lang="de-DE" dirty="0" smtClean="0">
                <a:solidFill>
                  <a:schemeClr val="accent1"/>
                </a:solidFill>
              </a:rPr>
              <a:t> Implantat Monotype</a:t>
            </a:r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7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125" y="1289154"/>
            <a:ext cx="7950943" cy="4971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11444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60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76" y="1768176"/>
            <a:ext cx="9005103" cy="42738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Schablone für </a:t>
            </a:r>
            <a:r>
              <a:rPr lang="de-DE" dirty="0" err="1" smtClean="0">
                <a:solidFill>
                  <a:schemeClr val="accent1"/>
                </a:solidFill>
              </a:rPr>
              <a:t>Provi</a:t>
            </a:r>
            <a:r>
              <a:rPr lang="de-DE" dirty="0" smtClean="0">
                <a:solidFill>
                  <a:schemeClr val="accent1"/>
                </a:solidFill>
              </a:rPr>
              <a:t>/ Orientierungsschablone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80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97" y="1821146"/>
            <a:ext cx="9051403" cy="3981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PURE in situ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1126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2</a:t>
            </a:fld>
            <a:endParaRPr lang="en-US" dirty="0"/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65" y="1384824"/>
            <a:ext cx="8310623" cy="4751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Provisorische Kronen auf </a:t>
            </a:r>
            <a:r>
              <a:rPr lang="de-DE" dirty="0">
                <a:solidFill>
                  <a:schemeClr val="accent1"/>
                </a:solidFill>
              </a:rPr>
              <a:t>P</a:t>
            </a:r>
            <a:r>
              <a:rPr lang="de-DE" dirty="0" smtClean="0">
                <a:solidFill>
                  <a:schemeClr val="accent1"/>
                </a:solidFill>
              </a:rPr>
              <a:t>URE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29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4915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35" y="1316887"/>
            <a:ext cx="8627406" cy="4832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35" y="1316887"/>
            <a:ext cx="8627406" cy="4832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Provisorische Kronen auf </a:t>
            </a:r>
            <a:r>
              <a:rPr lang="de-DE" dirty="0">
                <a:solidFill>
                  <a:schemeClr val="accent1"/>
                </a:solidFill>
              </a:rPr>
              <a:t>P</a:t>
            </a:r>
            <a:r>
              <a:rPr lang="de-DE" dirty="0" smtClean="0">
                <a:solidFill>
                  <a:schemeClr val="accent1"/>
                </a:solidFill>
              </a:rPr>
              <a:t>URE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78794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91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4</a:t>
            </a:fld>
            <a:endParaRPr lang="en-US" dirty="0"/>
          </a:p>
        </p:txBody>
      </p:sp>
      <p:pic>
        <p:nvPicPr>
          <p:cNvPr id="501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900" y="1170552"/>
            <a:ext cx="8499285" cy="5021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Provisorische Kronen auf </a:t>
            </a:r>
            <a:r>
              <a:rPr lang="de-DE" dirty="0">
                <a:solidFill>
                  <a:schemeClr val="accent1"/>
                </a:solidFill>
              </a:rPr>
              <a:t>P</a:t>
            </a:r>
            <a:r>
              <a:rPr lang="de-DE" dirty="0" smtClean="0">
                <a:solidFill>
                  <a:schemeClr val="accent1"/>
                </a:solidFill>
              </a:rPr>
              <a:t>URE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386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5</a:t>
            </a:fld>
            <a:endParaRPr lang="en-US" dirty="0"/>
          </a:p>
        </p:txBody>
      </p:sp>
      <p:pic>
        <p:nvPicPr>
          <p:cNvPr id="51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987" y="1461599"/>
            <a:ext cx="8183303" cy="4849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Abformkappen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016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08" y="1328924"/>
            <a:ext cx="7917083" cy="49826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Abformung/ Abdruck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078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7</a:t>
            </a:fld>
            <a:endParaRPr lang="en-US" dirty="0"/>
          </a:p>
        </p:txBody>
      </p:sp>
      <p:pic>
        <p:nvPicPr>
          <p:cNvPr id="532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837" y="1710393"/>
            <a:ext cx="8699098" cy="43416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>
                <a:solidFill>
                  <a:schemeClr val="accent1"/>
                </a:solidFill>
              </a:rPr>
              <a:t>Rohbrandeinprobe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5759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2550" y="1588275"/>
            <a:ext cx="6437313" cy="451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Fertige Kronen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4567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552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98" y="1977644"/>
            <a:ext cx="8692586" cy="3580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52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898" y="1977644"/>
            <a:ext cx="8692586" cy="353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accent1"/>
                </a:solidFill>
              </a:rPr>
              <a:t>Endgültige ästhetische </a:t>
            </a:r>
            <a:r>
              <a:rPr lang="de-DE" dirty="0">
                <a:solidFill>
                  <a:schemeClr val="accent1"/>
                </a:solidFill>
              </a:rPr>
              <a:t>V</a:t>
            </a:r>
            <a:r>
              <a:rPr lang="de-DE" dirty="0" smtClean="0">
                <a:solidFill>
                  <a:schemeClr val="accent1"/>
                </a:solidFill>
              </a:rPr>
              <a:t>ersorgung</a:t>
            </a:r>
            <a:endParaRPr lang="de-DE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572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52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465638" y="-3926541"/>
            <a:ext cx="13609638" cy="1078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8327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30</a:t>
            </a:fld>
            <a:endParaRPr lang="en-US" dirty="0"/>
          </a:p>
        </p:txBody>
      </p:sp>
      <p:pic>
        <p:nvPicPr>
          <p:cNvPr id="5632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423" y="390584"/>
            <a:ext cx="5541560" cy="33546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423" y="3268764"/>
            <a:ext cx="8047037" cy="302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88178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31</a:t>
            </a:fld>
            <a:endParaRPr lang="en-US" dirty="0"/>
          </a:p>
        </p:txBody>
      </p:sp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13458" y="1175795"/>
            <a:ext cx="10534650" cy="4419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734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Cement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13458" y="1175795"/>
            <a:ext cx="10534650" cy="441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99087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73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7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 dirty="0" err="1" smtClean="0"/>
              <a:t>Straumann</a:t>
            </a:r>
            <a:r>
              <a:rPr lang="en-US" dirty="0" smtClean="0"/>
              <a:t> GmbH</a:t>
            </a:r>
          </a:p>
          <a:p>
            <a:pPr lvl="0"/>
            <a:r>
              <a:rPr lang="en-US" dirty="0" smtClean="0"/>
              <a:t>Heinrich-von-Stephan-Str.21 </a:t>
            </a:r>
          </a:p>
          <a:p>
            <a:pPr lvl="0"/>
            <a:r>
              <a:rPr lang="en-US" dirty="0" smtClean="0"/>
              <a:t>79100 Freiburg</a:t>
            </a:r>
          </a:p>
          <a:p>
            <a:pPr lvl="0"/>
            <a:r>
              <a:rPr lang="en-US" dirty="0" smtClean="0"/>
              <a:t>Deutschland</a:t>
            </a:r>
            <a:br>
              <a:rPr lang="en-US" dirty="0" smtClean="0"/>
            </a:br>
            <a:r>
              <a:rPr lang="en-US" dirty="0" smtClean="0"/>
              <a:t>Phone +49 761 4501-0</a:t>
            </a:r>
          </a:p>
          <a:p>
            <a:pPr lvl="0"/>
            <a:r>
              <a:rPr lang="en-US" dirty="0" smtClean="0"/>
              <a:t>Fax     +49 761 4501-149</a:t>
            </a:r>
          </a:p>
          <a:p>
            <a:pPr lvl="0"/>
            <a:r>
              <a:rPr lang="en-US" dirty="0" smtClean="0"/>
              <a:t>www.straumann.d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6875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965" y="1296364"/>
            <a:ext cx="8380070" cy="4920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baseline="30000" dirty="0" smtClean="0"/>
              <a:t>®</a:t>
            </a:r>
            <a:r>
              <a:rPr lang="de-DE" dirty="0" smtClean="0"/>
              <a:t> PURE </a:t>
            </a:r>
            <a:r>
              <a:rPr lang="de-DE" dirty="0" err="1" smtClean="0"/>
              <a:t>Ceramic</a:t>
            </a:r>
            <a:r>
              <a:rPr lang="de-DE" dirty="0" smtClean="0"/>
              <a:t> Implantat Monoty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4879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815" y="1323623"/>
            <a:ext cx="8426370" cy="5007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baseline="30000" dirty="0" smtClean="0"/>
              <a:t>®</a:t>
            </a:r>
            <a:r>
              <a:rPr lang="de-DE" dirty="0" smtClean="0"/>
              <a:t> PURE </a:t>
            </a:r>
            <a:r>
              <a:rPr lang="de-DE" dirty="0" err="1" smtClean="0"/>
              <a:t>Ceramic</a:t>
            </a:r>
            <a:r>
              <a:rPr lang="de-DE" dirty="0" smtClean="0"/>
              <a:t> Implantat Monoty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5149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11" y="1374570"/>
            <a:ext cx="8148578" cy="47329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baseline="30000" dirty="0" smtClean="0"/>
              <a:t>®</a:t>
            </a:r>
            <a:r>
              <a:rPr lang="de-DE" dirty="0" smtClean="0"/>
              <a:t> PURE </a:t>
            </a:r>
            <a:r>
              <a:rPr lang="de-DE" dirty="0" err="1" smtClean="0"/>
              <a:t>Ceramic</a:t>
            </a:r>
            <a:r>
              <a:rPr lang="de-DE" dirty="0" smtClean="0"/>
              <a:t> Implantat Monoty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843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481" y="1377388"/>
            <a:ext cx="7674015" cy="48729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baseline="30000" dirty="0" smtClean="0"/>
              <a:t>®</a:t>
            </a:r>
            <a:r>
              <a:rPr lang="de-DE" dirty="0" smtClean="0"/>
              <a:t> PURE </a:t>
            </a:r>
            <a:r>
              <a:rPr lang="de-DE" dirty="0" err="1" smtClean="0"/>
              <a:t>Ceramic</a:t>
            </a:r>
            <a:r>
              <a:rPr lang="de-DE" dirty="0" smtClean="0"/>
              <a:t> Implantat Monoty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4042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711" y="1195036"/>
            <a:ext cx="8229600" cy="5172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baseline="30000" dirty="0" smtClean="0"/>
              <a:t>®</a:t>
            </a:r>
            <a:r>
              <a:rPr lang="de-DE" dirty="0" smtClean="0"/>
              <a:t> PURE </a:t>
            </a:r>
            <a:r>
              <a:rPr lang="de-DE" dirty="0" err="1" smtClean="0"/>
              <a:t>Ceramic</a:t>
            </a:r>
            <a:r>
              <a:rPr lang="de-DE" dirty="0" smtClean="0"/>
              <a:t> Implantat Monoty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70413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8656" y="1193094"/>
            <a:ext cx="7569842" cy="51710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baseline="30000" dirty="0" smtClean="0"/>
              <a:t>®</a:t>
            </a:r>
            <a:r>
              <a:rPr lang="de-DE" dirty="0" smtClean="0"/>
              <a:t> PURE </a:t>
            </a:r>
            <a:r>
              <a:rPr lang="de-DE" dirty="0" err="1" smtClean="0"/>
              <a:t>Ceramic</a:t>
            </a:r>
            <a:r>
              <a:rPr lang="de-DE" dirty="0" smtClean="0"/>
              <a:t> Implantat Monotyp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8786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/&gt;&lt;m_precDefaultPercent/&gt;&lt;m_precDefaultDate/&gt;&lt;m_precDefaultYear/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M_PowerPoint_4-3">
  <a:themeElements>
    <a:clrScheme name="Straumann_Juni">
      <a:dk1>
        <a:srgbClr val="58585A"/>
      </a:dk1>
      <a:lt1>
        <a:srgbClr val="FFFFFF"/>
      </a:lt1>
      <a:dk2>
        <a:srgbClr val="FFFFFF"/>
      </a:dk2>
      <a:lt2>
        <a:srgbClr val="58585A"/>
      </a:lt2>
      <a:accent1>
        <a:srgbClr val="8FB91C"/>
      </a:accent1>
      <a:accent2>
        <a:srgbClr val="585857"/>
      </a:accent2>
      <a:accent3>
        <a:srgbClr val="878787"/>
      </a:accent3>
      <a:accent4>
        <a:srgbClr val="B1B2B3"/>
      </a:accent4>
      <a:accent5>
        <a:srgbClr val="D9D9DA"/>
      </a:accent5>
      <a:accent6>
        <a:srgbClr val="1E7539"/>
      </a:accent6>
      <a:hlink>
        <a:srgbClr val="217934"/>
      </a:hlink>
      <a:folHlink>
        <a:srgbClr val="87888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2000" dirty="0" smtClean="0">
            <a:solidFill>
              <a:schemeClr val="bg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RM_PowerPoint_4-3</Template>
  <TotalTime>0</TotalTime>
  <Words>185</Words>
  <Application>Microsoft Office PowerPoint</Application>
  <PresentationFormat>Bildschirmpräsentation (4:3)</PresentationFormat>
  <Paragraphs>83</Paragraphs>
  <Slides>32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8" baseType="lpstr">
      <vt:lpstr>Arial</vt:lpstr>
      <vt:lpstr>Calibri</vt:lpstr>
      <vt:lpstr>Cambria</vt:lpstr>
      <vt:lpstr>Wingdings</vt:lpstr>
      <vt:lpstr>STRM_PowerPoint_4-3</vt:lpstr>
      <vt:lpstr>think-cell Folie</vt:lpstr>
      <vt:lpstr>Straumann® PURE Ceramic </vt:lpstr>
      <vt:lpstr>Straumann® PURE Ceramic Implantat Monotype</vt:lpstr>
      <vt:lpstr>PowerPoint-Präsentation</vt:lpstr>
      <vt:lpstr>Straumann® PURE Ceramic Implantat Monotype</vt:lpstr>
      <vt:lpstr>Straumann® PURE Ceramic Implantat Monotype</vt:lpstr>
      <vt:lpstr>Straumann® PURE Ceramic Implantat Monotype</vt:lpstr>
      <vt:lpstr>Straumann® PURE Ceramic Implantat Monotype</vt:lpstr>
      <vt:lpstr>Straumann® PURE Ceramic Implantat Monotype</vt:lpstr>
      <vt:lpstr>Straumann® PURE Ceramic Implantat Monotype</vt:lpstr>
      <vt:lpstr>Straumann® PURE Ceramic Implantat Monotype</vt:lpstr>
      <vt:lpstr>Straumann® PURE Ceramic Implantat Monotype</vt:lpstr>
      <vt:lpstr>Straumann ® PURE Ceramic Implantat Monotype</vt:lpstr>
      <vt:lpstr>Straumann ® PURE Ceramic Implantat Monotype</vt:lpstr>
      <vt:lpstr>Straumann ® PURE Ceramic Implantat Monotype</vt:lpstr>
      <vt:lpstr>Ausgangssituation</vt:lpstr>
      <vt:lpstr>Ausgangssituation</vt:lpstr>
      <vt:lpstr>Verlust</vt:lpstr>
      <vt:lpstr>Planung</vt:lpstr>
      <vt:lpstr>Planung</vt:lpstr>
      <vt:lpstr>Schablone für Provi/ Orientierungsschablone</vt:lpstr>
      <vt:lpstr>PURE in situ</vt:lpstr>
      <vt:lpstr>Provisorische Kronen auf PURE</vt:lpstr>
      <vt:lpstr>Provisorische Kronen auf PURE</vt:lpstr>
      <vt:lpstr>Provisorische Kronen auf PURE</vt:lpstr>
      <vt:lpstr>Abformkappen</vt:lpstr>
      <vt:lpstr>Abformung/ Abdruck</vt:lpstr>
      <vt:lpstr>Rohbrandeinprobe</vt:lpstr>
      <vt:lpstr>Fertige Kronen</vt:lpstr>
      <vt:lpstr>Endgültige ästhetische Versorgung</vt:lpstr>
      <vt:lpstr>PowerPoint-Präsentation</vt:lpstr>
      <vt:lpstr>PowerPoint-Präsentation</vt:lpstr>
      <vt:lpstr>PowerPoint-Präsentation</vt:lpstr>
    </vt:vector>
  </TitlesOfParts>
  <Company>Institut Strauman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omaterials@Straumann</dc:title>
  <dc:creator>Dunja Rudmann</dc:creator>
  <cp:lastModifiedBy>Anna Herweg</cp:lastModifiedBy>
  <cp:revision>40</cp:revision>
  <cp:lastPrinted>2015-05-21T11:17:03Z</cp:lastPrinted>
  <dcterms:created xsi:type="dcterms:W3CDTF">2016-04-03T15:36:19Z</dcterms:created>
  <dcterms:modified xsi:type="dcterms:W3CDTF">2017-12-05T12:37:03Z</dcterms:modified>
</cp:coreProperties>
</file>